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  <p:sldMasterId id="2147483791" r:id="rId2"/>
    <p:sldMasterId id="2147483844" r:id="rId3"/>
  </p:sldMasterIdLst>
  <p:notesMasterIdLst>
    <p:notesMasterId r:id="rId30"/>
  </p:notesMasterIdLst>
  <p:handoutMasterIdLst>
    <p:handoutMasterId r:id="rId31"/>
  </p:handoutMasterIdLst>
  <p:sldIdLst>
    <p:sldId id="1456" r:id="rId4"/>
    <p:sldId id="1503" r:id="rId5"/>
    <p:sldId id="1504" r:id="rId6"/>
    <p:sldId id="1458" r:id="rId7"/>
    <p:sldId id="1453" r:id="rId8"/>
    <p:sldId id="1450" r:id="rId9"/>
    <p:sldId id="1451" r:id="rId10"/>
    <p:sldId id="1460" r:id="rId11"/>
    <p:sldId id="1505" r:id="rId12"/>
    <p:sldId id="1428" r:id="rId13"/>
    <p:sldId id="1471" r:id="rId14"/>
    <p:sldId id="1472" r:id="rId15"/>
    <p:sldId id="1461" r:id="rId16"/>
    <p:sldId id="1473" r:id="rId17"/>
    <p:sldId id="1475" r:id="rId18"/>
    <p:sldId id="1474" r:id="rId19"/>
    <p:sldId id="1429" r:id="rId20"/>
    <p:sldId id="1476" r:id="rId21"/>
    <p:sldId id="1477" r:id="rId22"/>
    <p:sldId id="1509" r:id="rId23"/>
    <p:sldId id="1507" r:id="rId24"/>
    <p:sldId id="1508" r:id="rId25"/>
    <p:sldId id="1506" r:id="rId26"/>
    <p:sldId id="1478" r:id="rId27"/>
    <p:sldId id="1479" r:id="rId28"/>
    <p:sldId id="1338" r:id="rId29"/>
  </p:sldIdLst>
  <p:sldSz cx="12192000" cy="6858000"/>
  <p:notesSz cx="6858000" cy="9144000"/>
  <p:custDataLst>
    <p:tags r:id="rId32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FE85E-9033-746C-9255-39B1DB9CD116}" name="Celis Antilef, Nelson Damián" initials="CD" userId="S::ndcelisa@achs.cl::2d4d2769-a099-4f5b-b674-39eacc1e8e89" providerId="AD"/>
  <p188:author id="{E4F48593-C84E-83B8-3E03-AA2839BD61D1}" name="Larenas Molina, Karen Fernanda" initials="LF" userId="S::kflarenasm@achs.cl::5d93ec89-2368-4865-81db-a24f69fdb0ae" providerId="AD"/>
  <p188:author id="{86F58BB9-FF38-94D7-2CA9-E03963FB37EA}" name="Parra Salas, Janina Del Carmen" initials="PC" userId="S::jparras@achs.cl::f8793b0f-d42d-4d48-ae08-dc693f200b5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6737"/>
    <a:srgbClr val="007A33"/>
    <a:srgbClr val="1E117C"/>
    <a:srgbClr val="004F59"/>
    <a:srgbClr val="5F5F5F"/>
    <a:srgbClr val="616161"/>
    <a:srgbClr val="8A8A8A"/>
    <a:srgbClr val="C98539"/>
    <a:srgbClr val="F2E500"/>
    <a:srgbClr val="ECC3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C76A0C-7066-E823-12E5-C848E6FBD17A}" v="4" dt="2025-08-04T19:07:56.695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6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8/10/relationships/authors" Target="authors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02-1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7.emf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7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4" Type="http://schemas.openxmlformats.org/officeDocument/2006/relationships/image" Target="../media/image28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4" Type="http://schemas.openxmlformats.org/officeDocument/2006/relationships/image" Target="../media/image7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4" Type="http://schemas.openxmlformats.org/officeDocument/2006/relationships/image" Target="../media/image7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4" Type="http://schemas.openxmlformats.org/officeDocument/2006/relationships/image" Target="../media/image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3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8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7.emf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28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4" Type="http://schemas.openxmlformats.org/officeDocument/2006/relationships/oleObject" Target="../embeddings/oleObject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9888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7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97562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7433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solidFill>
          <a:srgbClr val="004A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F7FCC-439D-B94C-A689-2CC350BDE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1579" y="1983138"/>
            <a:ext cx="10017551" cy="2387600"/>
          </a:xfrm>
        </p:spPr>
        <p:txBody>
          <a:bodyPr anchor="b">
            <a:normAutofit/>
          </a:bodyPr>
          <a:lstStyle>
            <a:lvl1pPr algn="l"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10EA85-8C5A-7842-B0BA-B08D20BBD1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1578" y="6018714"/>
            <a:ext cx="10017551" cy="438647"/>
          </a:xfrm>
        </p:spPr>
        <p:txBody>
          <a:bodyPr>
            <a:normAutofit/>
          </a:bodyPr>
          <a:lstStyle>
            <a:lvl1pPr marL="0" indent="0" algn="l">
              <a:buNone/>
              <a:defRPr lang="es-CL" sz="1400" kern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Nombre expositor | Cargo expositor | Mes 2020</a:t>
            </a:r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44B7779-E965-CA4D-9EA5-DA5B5C7334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6138" y="441325"/>
            <a:ext cx="635000" cy="635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570EFBA-24C9-D642-9F28-8868099872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1578" y="1983138"/>
            <a:ext cx="6284762" cy="99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533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87C1AE-A5E7-0649-8C35-50561BEA6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1325"/>
            <a:ext cx="880007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4A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7B9D02-F56D-6A42-99A7-C72B6E7C2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2005012"/>
            <a:ext cx="11017250" cy="4351338"/>
          </a:xfrm>
        </p:spPr>
        <p:txBody>
          <a:bodyPr/>
          <a:lstStyle>
            <a:lvl1pPr marL="2286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598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10">
          <p15:clr>
            <a:srgbClr val="FBAE40"/>
          </p15:clr>
        </p15:guide>
        <p15:guide id="2" orient="horz" pos="4065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27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7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264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81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1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922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10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41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42742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b="1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625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7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b="1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71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02105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35171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425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09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139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8598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orient="horz" pos="1207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2436">
          <p15:clr>
            <a:srgbClr val="FBAE40"/>
          </p15:clr>
        </p15:guide>
        <p15:guide id="6" orient="horz" pos="3042">
          <p15:clr>
            <a:srgbClr val="FBAE40"/>
          </p15:clr>
        </p15:guide>
        <p15:guide id="7" orient="horz" pos="3644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707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25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62778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714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65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>
              <a:solidFill>
                <a:srgbClr val="FFFFFF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8171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57126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395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428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2171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90630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675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89077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8584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3963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5436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56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905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45402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2295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2720367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70590474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02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8260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3172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0516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1919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524861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6319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67859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69A6064-99A3-CF43-9426-0E7E1FBFBC6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2709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91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8891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894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e de pá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0E1EB5-C47E-4365-90B8-B587584F7E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0" imgH="371" progId="TCLayout.ActiveDocument.1">
                  <p:embed/>
                </p:oleObj>
              </mc:Choice>
              <mc:Fallback>
                <p:oleObj name="Diapositiva de think-cell" r:id="rId3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0E1EB5-C47E-4365-90B8-B587584F7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466736"/>
            <a:ext cx="11725484" cy="3140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>
              <a:solidFill>
                <a:srgbClr val="002A6C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9A05D7-46BD-4D2F-9B0C-1CACF1B3FE2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892321" y="664338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AR" sz="816" smtClean="0">
                <a:solidFill>
                  <a:srgbClr val="002A6C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Nº›</a:t>
            </a:fld>
            <a:endParaRPr lang="es-AR" sz="816">
              <a:solidFill>
                <a:srgbClr val="002A6C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8B1231-4B26-4335-AAC6-023EAAFC3979}"/>
              </a:ext>
            </a:extLst>
          </p:cNvPr>
          <p:cNvCxnSpPr/>
          <p:nvPr userDrawn="1"/>
        </p:nvCxnSpPr>
        <p:spPr>
          <a:xfrm>
            <a:off x="11798897" y="6792822"/>
            <a:ext cx="315089" cy="0"/>
          </a:xfrm>
          <a:prstGeom prst="line">
            <a:avLst/>
          </a:prstGeom>
          <a:ln w="12700">
            <a:solidFill>
              <a:schemeClr val="accent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0DEA04A-A7FD-4940-82D1-CD2C4D13DC36}"/>
              </a:ext>
            </a:extLst>
          </p:cNvPr>
          <p:cNvSpPr/>
          <p:nvPr userDrawn="1"/>
        </p:nvSpPr>
        <p:spPr>
          <a:xfrm>
            <a:off x="161986" y="320877"/>
            <a:ext cx="92262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rgbClr val="15BF45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Group 26">
            <a:extLst>
              <a:ext uri="{FF2B5EF4-FFF2-40B4-BE49-F238E27FC236}">
                <a16:creationId xmlns:a16="http://schemas.microsoft.com/office/drawing/2014/main" id="{8BC2E3A2-C95C-4B63-825A-38A492AB35F2}"/>
              </a:ext>
            </a:extLst>
          </p:cNvPr>
          <p:cNvGrpSpPr/>
          <p:nvPr userDrawn="1"/>
        </p:nvGrpSpPr>
        <p:grpSpPr>
          <a:xfrm>
            <a:off x="11310083" y="6439458"/>
            <a:ext cx="420822" cy="418542"/>
            <a:chOff x="-8636776" y="2758539"/>
            <a:chExt cx="6757987" cy="6721475"/>
          </a:xfrm>
        </p:grpSpPr>
        <p:sp>
          <p:nvSpPr>
            <p:cNvPr id="9" name="AutoShape 461">
              <a:extLst>
                <a:ext uri="{FF2B5EF4-FFF2-40B4-BE49-F238E27FC236}">
                  <a16:creationId xmlns:a16="http://schemas.microsoft.com/office/drawing/2014/main" id="{DEC92128-4DB5-4E60-A6EF-2FFD0C237B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463">
              <a:extLst>
                <a:ext uri="{FF2B5EF4-FFF2-40B4-BE49-F238E27FC236}">
                  <a16:creationId xmlns:a16="http://schemas.microsoft.com/office/drawing/2014/main" id="{9866ABBF-C610-455F-AAC3-33CD0A949B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solidFill>
              <a:srgbClr val="007F46"/>
            </a:solidFill>
            <a:ln w="0" cap="flat">
              <a:solidFill>
                <a:srgbClr val="007F4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464">
              <a:extLst>
                <a:ext uri="{FF2B5EF4-FFF2-40B4-BE49-F238E27FC236}">
                  <a16:creationId xmlns:a16="http://schemas.microsoft.com/office/drawing/2014/main" id="{6B31BCEC-3288-4BD7-9CA4-7FF0574B9A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8" name="Marcador de pie de página 3">
            <a:extLst>
              <a:ext uri="{FF2B5EF4-FFF2-40B4-BE49-F238E27FC236}">
                <a16:creationId xmlns:a16="http://schemas.microsoft.com/office/drawing/2014/main" id="{10BEC00D-782F-472A-A713-41FA2C2C05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381" y="6433591"/>
            <a:ext cx="10657184" cy="30777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8639208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9488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55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F7FCC-439D-B94C-A689-2CC350BDE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1579" y="1983138"/>
            <a:ext cx="10017551" cy="2387600"/>
          </a:xfrm>
        </p:spPr>
        <p:txBody>
          <a:bodyPr anchor="b">
            <a:normAutofit/>
          </a:bodyPr>
          <a:lstStyle>
            <a:lvl1pPr algn="l"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10EA85-8C5A-7842-B0BA-B08D20BBD1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1578" y="6018714"/>
            <a:ext cx="10017551" cy="438647"/>
          </a:xfrm>
        </p:spPr>
        <p:txBody>
          <a:bodyPr>
            <a:normAutofit/>
          </a:bodyPr>
          <a:lstStyle>
            <a:lvl1pPr marL="0" indent="0" algn="l">
              <a:buNone/>
              <a:defRPr lang="es-CL" sz="1400" kern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Nombre expositor | Cargo expositor | Mes 2020</a:t>
            </a:r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44B7779-E965-CA4D-9EA5-DA5B5C7334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6138" y="441325"/>
            <a:ext cx="635000" cy="635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570EFBA-24C9-D642-9F28-8868099872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1578" y="1983138"/>
            <a:ext cx="6284762" cy="99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6392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87C1AE-A5E7-0649-8C35-50561BEA6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1325"/>
            <a:ext cx="880007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4A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7B9D02-F56D-6A42-99A7-C72B6E7C2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2005012"/>
            <a:ext cx="11017250" cy="4351338"/>
          </a:xfrm>
        </p:spPr>
        <p:txBody>
          <a:bodyPr/>
          <a:lstStyle>
            <a:lvl1pPr marL="2286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7422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10" userDrawn="1">
          <p15:clr>
            <a:srgbClr val="FBAE40"/>
          </p15:clr>
        </p15:guide>
        <p15:guide id="2" orient="horz" pos="4065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orient="horz" pos="278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58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61318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842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17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543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4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627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933909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5185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7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617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4037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1936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314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78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65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083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7585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7034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644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639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27265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21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50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312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86848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8603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213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23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2739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33645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879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878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353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4518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6585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3124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6899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7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10073155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13264725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966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3065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3549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874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3961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4133512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1495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178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86.xml"/><Relationship Id="rId42" Type="http://schemas.openxmlformats.org/officeDocument/2006/relationships/slideLayout" Target="../slideLayouts/slideLayout94.xml"/><Relationship Id="rId47" Type="http://schemas.openxmlformats.org/officeDocument/2006/relationships/slideLayout" Target="../slideLayouts/slideLayout99.xml"/><Relationship Id="rId50" Type="http://schemas.openxmlformats.org/officeDocument/2006/relationships/slideLayout" Target="../slideLayouts/slideLayout102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37" Type="http://schemas.openxmlformats.org/officeDocument/2006/relationships/slideLayout" Target="../slideLayouts/slideLayout89.xml"/><Relationship Id="rId40" Type="http://schemas.openxmlformats.org/officeDocument/2006/relationships/slideLayout" Target="../slideLayouts/slideLayout92.xml"/><Relationship Id="rId45" Type="http://schemas.openxmlformats.org/officeDocument/2006/relationships/slideLayout" Target="../slideLayouts/slideLayout97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4" Type="http://schemas.openxmlformats.org/officeDocument/2006/relationships/slideLayout" Target="../slideLayouts/slideLayout96.xml"/><Relationship Id="rId52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35" Type="http://schemas.openxmlformats.org/officeDocument/2006/relationships/slideLayout" Target="../slideLayouts/slideLayout87.xml"/><Relationship Id="rId43" Type="http://schemas.openxmlformats.org/officeDocument/2006/relationships/slideLayout" Target="../slideLayouts/slideLayout95.xml"/><Relationship Id="rId48" Type="http://schemas.openxmlformats.org/officeDocument/2006/relationships/slideLayout" Target="../slideLayouts/slideLayout100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60.xml"/><Relationship Id="rId51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38" Type="http://schemas.openxmlformats.org/officeDocument/2006/relationships/slideLayout" Target="../slideLayouts/slideLayout90.xml"/><Relationship Id="rId4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93.xml"/><Relationship Id="rId54" Type="http://schemas.openxmlformats.org/officeDocument/2006/relationships/tags" Target="../tags/tag3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8.xml"/><Relationship Id="rId49" Type="http://schemas.openxmlformats.org/officeDocument/2006/relationships/slideLayout" Target="../slideLayouts/slideLayout10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9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38.xml"/><Relationship Id="rId42" Type="http://schemas.openxmlformats.org/officeDocument/2006/relationships/slideLayout" Target="../slideLayouts/slideLayout146.xml"/><Relationship Id="rId47" Type="http://schemas.openxmlformats.org/officeDocument/2006/relationships/slideLayout" Target="../slideLayouts/slideLayout151.xml"/><Relationship Id="rId50" Type="http://schemas.openxmlformats.org/officeDocument/2006/relationships/slideLayout" Target="../slideLayouts/slideLayout154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36.xml"/><Relationship Id="rId37" Type="http://schemas.openxmlformats.org/officeDocument/2006/relationships/slideLayout" Target="../slideLayouts/slideLayout141.xml"/><Relationship Id="rId40" Type="http://schemas.openxmlformats.org/officeDocument/2006/relationships/slideLayout" Target="../slideLayouts/slideLayout144.xml"/><Relationship Id="rId45" Type="http://schemas.openxmlformats.org/officeDocument/2006/relationships/slideLayout" Target="../slideLayouts/slideLayout149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4" Type="http://schemas.openxmlformats.org/officeDocument/2006/relationships/slideLayout" Target="../slideLayouts/slideLayout148.xml"/><Relationship Id="rId52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Relationship Id="rId35" Type="http://schemas.openxmlformats.org/officeDocument/2006/relationships/slideLayout" Target="../slideLayouts/slideLayout139.xml"/><Relationship Id="rId43" Type="http://schemas.openxmlformats.org/officeDocument/2006/relationships/slideLayout" Target="../slideLayouts/slideLayout147.xml"/><Relationship Id="rId48" Type="http://schemas.openxmlformats.org/officeDocument/2006/relationships/slideLayout" Target="../slideLayouts/slideLayout152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112.xml"/><Relationship Id="rId51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7.xml"/><Relationship Id="rId38" Type="http://schemas.openxmlformats.org/officeDocument/2006/relationships/slideLayout" Target="../slideLayouts/slideLayout142.xml"/><Relationship Id="rId4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24.xml"/><Relationship Id="rId41" Type="http://schemas.openxmlformats.org/officeDocument/2006/relationships/slideLayout" Target="../slideLayouts/slideLayout145.xml"/><Relationship Id="rId54" Type="http://schemas.openxmlformats.org/officeDocument/2006/relationships/tags" Target="../tags/tag6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40.xml"/><Relationship Id="rId49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697" r:id="rId8"/>
    <p:sldLayoutId id="2147483693" r:id="rId9"/>
    <p:sldLayoutId id="2147483713" r:id="rId10"/>
    <p:sldLayoutId id="2147483688" r:id="rId11"/>
    <p:sldLayoutId id="2147483734" r:id="rId12"/>
    <p:sldLayoutId id="2147483691" r:id="rId13"/>
    <p:sldLayoutId id="2147483732" r:id="rId14"/>
    <p:sldLayoutId id="2147483733" r:id="rId15"/>
    <p:sldLayoutId id="2147483669" r:id="rId16"/>
    <p:sldLayoutId id="2147483670" r:id="rId17"/>
    <p:sldLayoutId id="2147483731" r:id="rId18"/>
    <p:sldLayoutId id="2147483671" r:id="rId19"/>
    <p:sldLayoutId id="2147483679" r:id="rId20"/>
    <p:sldLayoutId id="2147483674" r:id="rId21"/>
    <p:sldLayoutId id="2147483698" r:id="rId22"/>
    <p:sldLayoutId id="2147483709" r:id="rId23"/>
    <p:sldLayoutId id="2147483673" r:id="rId24"/>
    <p:sldLayoutId id="2147483694" r:id="rId25"/>
    <p:sldLayoutId id="2147483675" r:id="rId26"/>
    <p:sldLayoutId id="2147483676" r:id="rId27"/>
    <p:sldLayoutId id="2147483678" r:id="rId28"/>
    <p:sldLayoutId id="2147483677" r:id="rId29"/>
    <p:sldLayoutId id="2147483680" r:id="rId30"/>
    <p:sldLayoutId id="2147483681" r:id="rId31"/>
    <p:sldLayoutId id="2147483695" r:id="rId32"/>
    <p:sldLayoutId id="2147483718" r:id="rId33"/>
    <p:sldLayoutId id="2147483682" r:id="rId34"/>
    <p:sldLayoutId id="2147483685" r:id="rId35"/>
    <p:sldLayoutId id="2147483686" r:id="rId36"/>
    <p:sldLayoutId id="2147483689" r:id="rId37"/>
    <p:sldLayoutId id="2147483690" r:id="rId38"/>
    <p:sldLayoutId id="2147483719" r:id="rId39"/>
    <p:sldLayoutId id="2147483735" r:id="rId40"/>
    <p:sldLayoutId id="2147483715" r:id="rId41"/>
    <p:sldLayoutId id="2147483720" r:id="rId42"/>
    <p:sldLayoutId id="2147483723" r:id="rId43"/>
    <p:sldLayoutId id="2147483725" r:id="rId44"/>
    <p:sldLayoutId id="2147483724" r:id="rId45"/>
    <p:sldLayoutId id="2147483722" r:id="rId46"/>
    <p:sldLayoutId id="2147483721" r:id="rId47"/>
    <p:sldLayoutId id="2147483736" r:id="rId48"/>
    <p:sldLayoutId id="2147483706" r:id="rId49"/>
    <p:sldLayoutId id="2147483702" r:id="rId50"/>
    <p:sldLayoutId id="2147483789" r:id="rId51"/>
    <p:sldLayoutId id="2147483790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245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  <p:sldLayoutId id="2147483831" r:id="rId40"/>
    <p:sldLayoutId id="2147483832" r:id="rId41"/>
    <p:sldLayoutId id="2147483833" r:id="rId42"/>
    <p:sldLayoutId id="2147483834" r:id="rId43"/>
    <p:sldLayoutId id="2147483835" r:id="rId44"/>
    <p:sldLayoutId id="2147483836" r:id="rId45"/>
    <p:sldLayoutId id="2147483837" r:id="rId46"/>
    <p:sldLayoutId id="2147483838" r:id="rId47"/>
    <p:sldLayoutId id="2147483839" r:id="rId48"/>
    <p:sldLayoutId id="2147483840" r:id="rId49"/>
    <p:sldLayoutId id="2147483841" r:id="rId50"/>
    <p:sldLayoutId id="2147483842" r:id="rId51"/>
    <p:sldLayoutId id="2147483843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15BF45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15BF4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2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s://achs.certificados.crm-mantis.cl/login" TargetMode="External"/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hyperlink" Target="https://achs.certificados.crm-mantis.cl/login" TargetMode="External"/><Relationship Id="rId1" Type="http://schemas.openxmlformats.org/officeDocument/2006/relationships/slideLayout" Target="../slideLayouts/slideLayout7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hyperlink" Target="https://achs.certificados.crm-mantis.cl" TargetMode="External"/><Relationship Id="rId1" Type="http://schemas.openxmlformats.org/officeDocument/2006/relationships/slideLayout" Target="../slideLayouts/slideLayout7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9.emf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97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88A22B-33C3-E2F4-9056-EC28413C37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45917" y="2663985"/>
            <a:ext cx="5786102" cy="1461692"/>
          </a:xfrm>
        </p:spPr>
        <p:txBody>
          <a:bodyPr lIns="0" tIns="0" rIns="0" bIns="0" anchor="t"/>
          <a:lstStyle/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REPOSITORIO </a:t>
            </a:r>
          </a:p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EQUIPO REACTIVO</a:t>
            </a:r>
          </a:p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VISUALIZACIÓN EMPRESAS</a:t>
            </a:r>
          </a:p>
        </p:txBody>
      </p:sp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E80A1215-A39F-FA72-9E32-65D0B2392BBD}"/>
              </a:ext>
            </a:extLst>
          </p:cNvPr>
          <p:cNvSpPr txBox="1">
            <a:spLocks/>
          </p:cNvSpPr>
          <p:nvPr/>
        </p:nvSpPr>
        <p:spPr>
          <a:xfrm>
            <a:off x="5605410" y="3394831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500" b="0" i="0" u="none" strike="noStrike" cap="none" spc="0" baseline="0">
                <a:solidFill>
                  <a:schemeClr val="bg2"/>
                </a:solidFill>
                <a:uFillTx/>
                <a:latin typeface="ACHS Nueva Sans Medium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15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CHS Nueva Sans Medium" pitchFamily="2" charset="77"/>
              <a:cs typeface="Arial"/>
              <a:sym typeface="Arial"/>
            </a:endParaRP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2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CHS Nueva Serif" pitchFamily="2" charset="77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878174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DCC841E6-F8FE-1BAB-624A-64426F29D9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 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Para nuestros clientes tenemos dos formas de descargar diplomas.</a:t>
            </a: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el primer ítem: cursos se puede buscar con el número de oportunidad, el cual, corresponde al ID de la capacitación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861F8E8-85DB-5C2D-D45B-F0D291CE68A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2B848EF7-04C0-5229-2ED8-98DD75A80857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Curso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4A56D378-39FD-5964-65A2-9B5E51829A7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CDBCBF1-C2F2-F7C6-0103-CD5014C21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62" y="1200920"/>
            <a:ext cx="8079289" cy="541673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458E124-8D90-786F-D277-1F088B3F9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557" y="2530061"/>
            <a:ext cx="1279567" cy="51210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345C58D-442A-6C2D-8665-38DE9BC864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5736" y="3683979"/>
            <a:ext cx="707197" cy="29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29366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E423D46-B233-F91A-B924-5A7BCDFE89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663E6E9-0B18-48B3-BFC8-ED6874FA2F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Una vez digitado el número de oportunidad, se debe seleccionar en la opción: Ver Ficha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4AC7FD0-7B55-E7A7-744C-6F855E17E54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F35B80A9-AE97-BF90-547B-D7569E91C660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Curso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5EB53BFC-A738-3B35-D440-FE0D90F88E6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888ECCA-0AC6-01ED-D3D3-B78A712B8A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612" y="1246671"/>
            <a:ext cx="8058211" cy="537098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FA3F466-8E60-2593-8B17-9591540E03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3828" y="5760694"/>
            <a:ext cx="1279567" cy="51210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4B1C1CDE-2DEF-D6B7-12FD-8610EA6861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0545" y="5867383"/>
            <a:ext cx="707197" cy="29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57326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3E61ECB-5509-3DD5-8541-89933B201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6157DE91-A0A1-F66D-5758-99579C57E3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 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Al ingresar a la ficha, tenemos la opción: descargar el informe académico. En este documento podemos revisar las notas y la asistencia de los participantes aprobados como reprobados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051467B-2AAC-0988-DE60-9AF1B2CFD1F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54332839-6307-2F5A-75AB-0AB85D1B4AE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Curso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55D0A1D4-0B4B-C9A0-D425-468C0A798A04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B0ED9BE-9243-41B9-AA63-808951CA41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29" y="1229164"/>
            <a:ext cx="8059479" cy="528859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5C4BC2B-3F25-3730-6CE6-8BB46EFA54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401" y="2684569"/>
            <a:ext cx="707197" cy="29873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37D4CA7-B654-EFCB-5149-36BC4A2E9D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7002" y="2577880"/>
            <a:ext cx="1368912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2375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015D4CF-E368-0600-47AF-4F79DCAC38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C8873A41-29D2-E5E0-1704-7943CE9544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3566" y="1328398"/>
            <a:ext cx="2441307" cy="4413124"/>
          </a:xfrm>
        </p:spPr>
        <p:txBody>
          <a:bodyPr lIns="0" tIns="0" rIns="0" bIns="0" anchor="t"/>
          <a:lstStyle/>
          <a:p>
            <a:endParaRPr lang="es-ES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CL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  <a:hlinkClick r:id="rId2"/>
              </a:rPr>
              <a:t>https://achs.certificados.crm-mantis.cl/login</a:t>
            </a:r>
            <a:endParaRPr lang="es-CL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endParaRPr lang="es-CL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7E22019-F73C-49F8-7A07-11EFA811705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DD4B9075-BB56-149E-F81F-EF6FB47D6E9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8888" y="464093"/>
            <a:ext cx="7481365" cy="335548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Visualización Informe Académico</a:t>
            </a:r>
            <a:endParaRPr lang="es-CL" sz="1400" b="1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C8873A41-29D2-E5E0-1704-7943CE9544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 </a:t>
            </a: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Visualización Informe Académico</a:t>
            </a:r>
          </a:p>
          <a:p>
            <a:endParaRPr lang="es-ES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984" y="834857"/>
            <a:ext cx="4087725" cy="5782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327298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9BB70A4-45BE-D8A2-0D61-7B0B21AD8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FF18EA11-FECA-B0B5-8938-34F5AFC50D3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Al ingresar a la ficha, tenemos la opción: descargar diplomas. En este documento podemos revisar toda la información del curso y los datos personales el participante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703F246-B538-5C42-6ED6-81F249EAF6B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8C3B7673-D376-78D9-FAD1-8EA460A1E44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Curso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F180AA04-BF44-190C-10B0-75C41DAC2B0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0470822-13FE-2750-9E6D-9BAB0A213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29" y="1229164"/>
            <a:ext cx="8059479" cy="513226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47E393F-7A5F-2C2D-8913-EC418D713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2760" y="5890541"/>
            <a:ext cx="707197" cy="29873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1699D22-42C7-1C36-A554-3E817133F6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8059" y="5783852"/>
            <a:ext cx="1392527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14333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B2B9330-873D-52F8-A6CE-D7683A3DAF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8F5AD9D7-5D06-6530-B8EB-E3D78FC819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Tenemos la opción de descargar de forma masiva los diplomas o seleccionar de forma individual, como india la imagen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224E7FA-EA2E-621E-860D-E5E5E43013D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40B65DCF-5F58-6EBE-B622-4EE13960DB1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Curso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6E69B2D-A7F4-3E53-F72A-ECEE521D577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E7B30-BA26-5EFB-0929-6785820DB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723" y="1229165"/>
            <a:ext cx="8134752" cy="538848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96F3C9F9-2D4F-93CA-9AFF-DC42CBC2D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6682" y="1728747"/>
            <a:ext cx="2764431" cy="51210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563A93D-2E9E-35EF-4D41-71AF8244E3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97508"/>
            <a:ext cx="707197" cy="29873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C36440D-4BA4-910E-4BDE-11891BE69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740436"/>
            <a:ext cx="785634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52636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7ECE0BC-B260-807E-F028-A4D6DA85C5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C29D1559-1312-CF94-A6C3-5579A53F73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3566" y="1328398"/>
            <a:ext cx="2441307" cy="4413124"/>
          </a:xfrm>
        </p:spPr>
        <p:txBody>
          <a:bodyPr lIns="0" tIns="0" rIns="0" bIns="0" anchor="t"/>
          <a:lstStyle/>
          <a:p>
            <a:endParaRPr lang="es-ES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CL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  <a:hlinkClick r:id="rId2"/>
              </a:rPr>
              <a:t>https://achs.certificados.crm-mantis.cl/login</a:t>
            </a:r>
            <a:endParaRPr lang="es-CL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endParaRPr lang="es-CL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F170B1C-6F29-35C2-9D43-8DB7C0588DE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65F436DC-8BA1-D665-6082-98A1B195832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8888" y="464093"/>
            <a:ext cx="7481365" cy="335548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Visualización Diploma Académico</a:t>
            </a:r>
            <a:endParaRPr lang="es-CL" sz="1400" b="1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BBC87B72-61F0-E9C0-C861-2620409DD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Visualización Diploma Académico del participante por curso ejecutado, el cual, detalla datos del asistente, nombre del curso realizado ,modalidad, horas, fecha y nota final. Documento certificado y con una vigencia de 2 años.</a:t>
            </a:r>
          </a:p>
          <a:p>
            <a:endParaRPr lang="es-ES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CA89D9E-2965-F638-1DDC-16F50B259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053" y="946298"/>
            <a:ext cx="7639282" cy="5671354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96008620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015D4CF-E368-0600-47AF-4F79DCAC38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C8873A41-29D2-E5E0-1704-7943CE9544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Para nuestros clientes tenemos dos formas de descargar diplomas.</a:t>
            </a: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el segundo ítem: Participantes se puede buscar con el número de Rut o Nombre de los asistentes a la capacitación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7E22019-F73C-49F8-7A07-11EFA811705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DD4B9075-BB56-149E-F81F-EF6FB47D6E9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Participante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55EF2CDC-CA15-84A3-5F68-C600AA329D2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66323AD-DE9A-BB21-964E-89E2E3450C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529" y="1269926"/>
            <a:ext cx="8155662" cy="534772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EA3A775C-E032-CE19-20A4-116DB4EAD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529" y="3066620"/>
            <a:ext cx="1279567" cy="51210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7A263B9-2528-CE99-68C0-262CF6D60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617" y="3173309"/>
            <a:ext cx="707197" cy="29873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46910C82-2C98-525E-806E-8C47CB50B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5362" y="4399234"/>
            <a:ext cx="1279567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62134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CD22D3-706D-AB8D-E02B-365783DE9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FC299D48-5918-3275-98F2-EE699E9005E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vez seleccionada la ficha participante, tenemos la  opción: Ver diploma en donde podemos descargar el documento.</a:t>
            </a:r>
            <a:endParaRPr lang="es-CL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5FDAD6F-5E0D-FCA4-35FA-7079CFCC639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65091D68-D3AB-D13E-B3E4-8930EF09CBA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Participante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4C113763-DE57-FBDD-8CA7-873CDC5E7AC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5F7EE9A-59FD-7D88-8F72-E7442CD57E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645" y="1344227"/>
            <a:ext cx="8055811" cy="533295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CDEC93A-713F-5B1F-CFB9-99C7D2D24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4368" y="1827626"/>
            <a:ext cx="1745457" cy="51210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B6620DD-C9F8-A173-D561-2E652DC22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8923" y="5985118"/>
            <a:ext cx="707197" cy="29873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8E4FFDA1-4579-2283-5464-C67562B848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2504" y="5771740"/>
            <a:ext cx="1146343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9392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9ED268B-3F6E-4D9B-51CC-244BA770C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6B1637FE-DBA9-840F-1825-6E7DD833707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Al ingresar a en la ficha del participante, se puede obtener el informe académico de la oportunidad y descargar el diploma.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E55F964-9A48-B742-9D48-8E0D53F64F9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7046C899-35EB-2881-CDC3-698D5B1D770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/>
              <a:t>Descargar Diplomas por Participante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55AEE063-E594-2562-2D70-20E558E1CAD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C6F8580-B35F-79FF-0701-27FF66E380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079" y="1290602"/>
            <a:ext cx="8155172" cy="54223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E855A7B5-0B79-E6E6-3FEB-EB54FAF2D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5629" y="2495817"/>
            <a:ext cx="1745457" cy="512108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4B60B83B-A024-6466-4E30-59A5396709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390" y="5385772"/>
            <a:ext cx="1917001" cy="512108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F1C026BE-EFD9-F4BF-A16A-41282305FE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7063" y="5985118"/>
            <a:ext cx="707197" cy="29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36772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70343-2496-7E48-CDAD-D10D758D49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AA3E0E3-C872-CDA2-2378-76AA0ACA584B}"/>
              </a:ext>
            </a:extLst>
          </p:cNvPr>
          <p:cNvSpPr txBox="1">
            <a:spLocks/>
          </p:cNvSpPr>
          <p:nvPr/>
        </p:nvSpPr>
        <p:spPr>
          <a:xfrm>
            <a:off x="1027453" y="974174"/>
            <a:ext cx="8587739" cy="450589"/>
          </a:xfrm>
          <a:prstGeom prst="rect">
            <a:avLst/>
          </a:prstGeom>
        </p:spPr>
        <p:txBody>
          <a:bodyPr vert="horz" lIns="0" tIns="0" rIns="0" bIns="0" anchor="t"/>
          <a:lstStyle>
            <a:lvl1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2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8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4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acion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1BEFDC3-8742-5FA6-FA7A-E8681481CFC5}"/>
              </a:ext>
            </a:extLst>
          </p:cNvPr>
          <p:cNvSpPr txBox="1">
            <a:spLocks/>
          </p:cNvSpPr>
          <p:nvPr/>
        </p:nvSpPr>
        <p:spPr>
          <a:xfrm>
            <a:off x="1104456" y="1786621"/>
            <a:ext cx="7367850" cy="586873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5400" b="0" i="0" u="none" strike="noStrike" cap="none" spc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MPRESA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FF139A6-5145-21BD-A0B2-0925D0C3CFFA}"/>
              </a:ext>
            </a:extLst>
          </p:cNvPr>
          <p:cNvSpPr/>
          <p:nvPr/>
        </p:nvSpPr>
        <p:spPr>
          <a:xfrm>
            <a:off x="2965197" y="2080057"/>
            <a:ext cx="6531255" cy="4048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rgbClr val="E9EADD"/>
              </a:buClr>
              <a:buSzTx/>
              <a:buFontTx/>
              <a:buNone/>
              <a:tabLst>
                <a:tab pos="178262" algn="l"/>
                <a:tab pos="356525" algn="l"/>
                <a:tab pos="534787" algn="l"/>
              </a:tabLst>
              <a:defRPr/>
            </a:pPr>
            <a:r>
              <a:rPr kumimoji="0" lang="es-CL" sz="1600" b="0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reación accedo a portal diplomas empresas</a:t>
            </a:r>
            <a:endParaRPr kumimoji="0" lang="es-CL" sz="16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rgbClr val="15BF45"/>
              </a:buClr>
              <a:buSzTx/>
              <a:buFont typeface="Wingdings" panose="05000000000000000000" pitchFamily="2" charset="2"/>
              <a:buChar char="q"/>
              <a:tabLst>
                <a:tab pos="178262" algn="l"/>
                <a:tab pos="356525" algn="l"/>
                <a:tab pos="534787" algn="l"/>
              </a:tabLst>
              <a:defRPr/>
            </a:pPr>
            <a:r>
              <a:rPr kumimoji="0" lang="es-CL" sz="1600" b="0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</a:t>
            </a:r>
            <a:endParaRPr kumimoji="0" lang="es-C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incipales funcionalidades de portal diplomas</a:t>
            </a:r>
          </a:p>
          <a:p>
            <a:pPr marL="177800" marR="0" lvl="1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reación usuario empresas en portal diplomas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reación usuario participantes en portal diplomas. </a:t>
            </a: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Helvetica Neue"/>
              </a:rPr>
              <a:t>Descarga de diplomas por cursos vista empresas.</a:t>
            </a: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forme académico genérico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Visualización diploma académico.</a:t>
            </a:r>
          </a:p>
          <a:p>
            <a:pPr marL="463550" marR="0" lvl="3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scarga de diplomas por participantes.</a:t>
            </a:r>
          </a:p>
          <a:p>
            <a:pPr marL="177800" marR="0" lvl="3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ambio de contraseñas usuario empresa.</a:t>
            </a:r>
          </a:p>
          <a:p>
            <a:pPr marL="177800" marR="0" lvl="1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177800" marR="0" lvl="1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Helvetica Neue"/>
            </a:endParaRPr>
          </a:p>
          <a:p>
            <a:pPr marL="463550" marR="0" lvl="1" indent="-28575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s-CL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Helvetica Neue"/>
            </a:endParaRPr>
          </a:p>
          <a:p>
            <a:pPr marL="177800" marR="0" lvl="1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iplomas en Portal Cursos </a:t>
            </a:r>
            <a:endParaRPr kumimoji="0" lang="es-CL" sz="16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Helvetica Neue"/>
            </a:endParaRPr>
          </a:p>
          <a:p>
            <a:pPr marL="177800" marR="0" lvl="1" indent="0" algn="l" defTabSz="91677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Helvetica Neue"/>
              </a:rPr>
              <a:t>Descarga diplomas en Portal Participantes</a:t>
            </a:r>
          </a:p>
        </p:txBody>
      </p:sp>
    </p:spTree>
    <p:extLst>
      <p:ext uri="{BB962C8B-B14F-4D97-AF65-F5344CB8AC3E}">
        <p14:creationId xmlns:p14="http://schemas.microsoft.com/office/powerpoint/2010/main" val="4103930711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5EA20-BC75-1F9C-F661-8F783E16B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CBDEF6-A087-AA8F-1B99-920793D54E23}"/>
              </a:ext>
            </a:extLst>
          </p:cNvPr>
          <p:cNvSpPr txBox="1"/>
          <p:nvPr/>
        </p:nvSpPr>
        <p:spPr>
          <a:xfrm>
            <a:off x="5401995" y="5102951"/>
            <a:ext cx="6356252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defTabSz="1218406" hangingPunct="1">
              <a:spcBef>
                <a:spcPts val="0"/>
              </a:spcBef>
              <a:buSzPct val="123000"/>
              <a:defRPr/>
            </a:pPr>
            <a:r>
              <a:rPr lang="es-CL" sz="2000">
                <a:solidFill>
                  <a:schemeClr val="bg1"/>
                </a:solidFill>
                <a:latin typeface="Arial"/>
                <a:ea typeface="+mn-lt"/>
                <a:cs typeface="Arial" panose="020B0604020202020204"/>
                <a:sym typeface="Arial"/>
              </a:rPr>
              <a:t>VISUALIZACION DE FICHA Y REPORTE POR EMPRESAS</a:t>
            </a:r>
            <a:endParaRPr lang="es-CL" sz="2000">
              <a:solidFill>
                <a:schemeClr val="bg1"/>
              </a:solidFill>
              <a:latin typeface="Arial"/>
              <a:ea typeface="+mn-lt"/>
              <a:cs typeface="Arial" panose="020B0604020202020204"/>
            </a:endParaRPr>
          </a:p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8338885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3BFC04-87C6-46AB-F126-244F68AB1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9D888142-C2DB-B95B-F4EF-DD6DC2885F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1431" y="1626782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https://achs.certificados.crm-mantis.cl</a:t>
            </a:r>
            <a:endParaRPr lang="es-E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Al ingresar a en la  opción Descarga de Ficha de la empresa, se desplegarán todos  los cursos ejecutados por ésta.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89D2217-A715-3D88-2921-E7A39DA9213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9BF19A97-EBF6-6859-B5D5-63F8BAB07F87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 lIns="0" tIns="0" rIns="0" bIns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>
                <a:latin typeface="Arial"/>
                <a:cs typeface="Arial"/>
              </a:rPr>
              <a:t>Descargar de ficha por Empresas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0E2E1D11-A588-CFD2-7557-E9AA58E7665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C83C9C5-688C-3296-2218-6E121085C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704" y="1719659"/>
            <a:ext cx="8132167" cy="3643531"/>
          </a:xfrm>
          <a:prstGeom prst="rect">
            <a:avLst/>
          </a:prstGeom>
        </p:spPr>
      </p:pic>
      <p:pic>
        <p:nvPicPr>
          <p:cNvPr id="4" name="Imagen 13" descr="A black rectangular object with red border&#10;&#10;AI-generated content may be incorrect.">
            <a:extLst>
              <a:ext uri="{FF2B5EF4-FFF2-40B4-BE49-F238E27FC236}">
                <a16:creationId xmlns:a16="http://schemas.microsoft.com/office/drawing/2014/main" id="{79D294A4-86B9-8378-4B90-C5E795BE4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3104" y="2270964"/>
            <a:ext cx="1745457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228861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18F14F-DE88-D0B2-22DC-70FA46266F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E8EEF59B-7892-D90B-A090-BCD874578B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250808" y="1726716"/>
            <a:ext cx="2441307" cy="4413124"/>
          </a:xfrm>
        </p:spPr>
        <p:txBody>
          <a:bodyPr lIns="0" tIns="0" rIns="0" bIns="0" anchor="t"/>
          <a:lstStyle/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En nuestro portal de diplomas</a:t>
            </a:r>
            <a:endParaRPr lang="en-US" sz="1200">
              <a:solidFill>
                <a:schemeClr val="tx1">
                  <a:lumMod val="76000"/>
                </a:schemeClr>
              </a:solidFill>
              <a:latin typeface="Arial"/>
              <a:cs typeface="Arial"/>
            </a:endParaRPr>
          </a:p>
          <a:p>
            <a:r>
              <a:rPr lang="es-CL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hs.certificados.crm-mantis.cl</a:t>
            </a:r>
            <a:endParaRPr lang="es-ES" sz="1200">
              <a:solidFill>
                <a:srgbClr val="15BF45"/>
              </a:solidFill>
              <a:latin typeface="Arial"/>
              <a:cs typeface="Arial"/>
            </a:endParaRPr>
          </a:p>
          <a:p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Al ingresar a en la opción Descarga de Ficha de la empresa, se desplegaran un </a:t>
            </a:r>
            <a:r>
              <a:rPr lang="es-ES" sz="1200" err="1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reportede</a:t>
            </a:r>
            <a:r>
              <a:rPr lang="es-ES" sz="1200">
                <a:solidFill>
                  <a:schemeClr val="tx1">
                    <a:lumMod val="76000"/>
                  </a:schemeClr>
                </a:solidFill>
                <a:latin typeface="Arial"/>
                <a:cs typeface="Arial"/>
              </a:rPr>
              <a:t> todos los cursos ejecutados por ésta.</a:t>
            </a:r>
            <a:endParaRPr lang="es-ES">
              <a:solidFill>
                <a:schemeClr val="tx1">
                  <a:lumMod val="76000"/>
                </a:scheme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50C83E6-ED84-F1C5-748E-1C3DDE1CC18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117011DB-7D06-609C-DD7F-A3917699E4B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 lIns="0" tIns="0" rIns="0" bIns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400" b="1">
                <a:latin typeface="Arial"/>
                <a:cs typeface="Arial"/>
              </a:rPr>
              <a:t>Descargar de reporte por Empresa</a:t>
            </a:r>
            <a:endParaRPr lang="es-CL" sz="1400" b="1"/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76BAD66B-867E-7D16-8147-20280A91ECB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ES" sz="1200"/>
              <a:t>Vista Empresas</a:t>
            </a:r>
            <a:endParaRPr lang="es-CL" sz="1200"/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9ECF60F-F4CE-CF11-6C82-F3B12AB693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0962" y="831294"/>
            <a:ext cx="4610075" cy="578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109496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40BBF-E9C7-476B-406B-F7D92C3EC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0688893-4976-ABD2-EFF6-E009D0D38921}"/>
              </a:ext>
            </a:extLst>
          </p:cNvPr>
          <p:cNvSpPr txBox="1"/>
          <p:nvPr/>
        </p:nvSpPr>
        <p:spPr>
          <a:xfrm>
            <a:off x="5401995" y="5102951"/>
            <a:ext cx="6356252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defTabSz="1218406" hangingPunct="1">
              <a:spcBef>
                <a:spcPts val="0"/>
              </a:spcBef>
              <a:buSzPct val="123000"/>
              <a:defRPr/>
            </a:pPr>
            <a:r>
              <a:rPr lang="es-CL" sz="2000">
                <a:solidFill>
                  <a:schemeClr val="bg1"/>
                </a:solidFill>
                <a:latin typeface="Arial" panose="020B0604020202020204" pitchFamily="34" charset="0"/>
                <a:ea typeface="+mn-lt"/>
                <a:cs typeface="Arial" panose="020B0604020202020204"/>
                <a:sym typeface="Arial"/>
              </a:rPr>
              <a:t>CAMBIO DE CONTRASEÑA USUARIOS EMPRESAS</a:t>
            </a:r>
          </a:p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3359079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8175F-1DB9-1C54-F97F-318B55FF1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44BBFA0B-DF86-E9D4-E718-648946D26B53}"/>
              </a:ext>
            </a:extLst>
          </p:cNvPr>
          <p:cNvSpPr/>
          <p:nvPr/>
        </p:nvSpPr>
        <p:spPr>
          <a:xfrm>
            <a:off x="727987" y="891587"/>
            <a:ext cx="7202640" cy="3139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aso 1: Ingresa el Rut del usuario y seleccionar “Olvidaste tu contraseña</a:t>
            </a:r>
            <a:r>
              <a:rPr kumimoji="0" lang="es-ES" sz="16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”</a:t>
            </a:r>
            <a:endParaRPr kumimoji="0" lang="es-CL" sz="16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F0DDEA1-1548-4C3E-9443-22A9B9C79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19" y="1238964"/>
            <a:ext cx="10525567" cy="4380071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211BE01B-41BC-7C4D-382E-50769947CFB0}"/>
              </a:ext>
            </a:extLst>
          </p:cNvPr>
          <p:cNvSpPr/>
          <p:nvPr/>
        </p:nvSpPr>
        <p:spPr>
          <a:xfrm>
            <a:off x="8389088" y="3911280"/>
            <a:ext cx="2169042" cy="462012"/>
          </a:xfrm>
          <a:prstGeom prst="rect">
            <a:avLst/>
          </a:prstGeom>
          <a:noFill/>
          <a:ln w="28575" cap="flat">
            <a:solidFill>
              <a:srgbClr val="FF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Flecha derecha 1">
            <a:extLst>
              <a:ext uri="{FF2B5EF4-FFF2-40B4-BE49-F238E27FC236}">
                <a16:creationId xmlns:a16="http://schemas.microsoft.com/office/drawing/2014/main" id="{99FCCA7E-2435-A785-3546-3BA477368B22}"/>
              </a:ext>
            </a:extLst>
          </p:cNvPr>
          <p:cNvSpPr/>
          <p:nvPr/>
        </p:nvSpPr>
        <p:spPr>
          <a:xfrm>
            <a:off x="6096000" y="2201349"/>
            <a:ext cx="664143" cy="220312"/>
          </a:xfrm>
          <a:prstGeom prst="rightArrow">
            <a:avLst/>
          </a:prstGeom>
          <a:noFill/>
          <a:ln w="285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Marcador de texto 17">
            <a:extLst>
              <a:ext uri="{FF2B5EF4-FFF2-40B4-BE49-F238E27FC236}">
                <a16:creationId xmlns:a16="http://schemas.microsoft.com/office/drawing/2014/main" id="{B3EB8D69-4FFD-E1A0-9A59-E25EF9F6EDF8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marR="0" lvl="0" indent="-34290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 pitchFamily="34" charset="0"/>
                <a:ea typeface="+mn-lt"/>
                <a:cs typeface="Arial" panose="020B0604020202020204"/>
                <a:sym typeface="Arial"/>
              </a:rPr>
              <a:t>Cambio de Contraseña Usuarios Empresas</a:t>
            </a:r>
          </a:p>
          <a:p>
            <a:pPr marL="342900" marR="0" lvl="0" indent="-34290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Wingdings" panose="05000000000000000000" pitchFamily="2" charset="2"/>
              <a:buChar char="ü"/>
              <a:tabLst/>
              <a:defRPr/>
            </a:pPr>
            <a:endParaRPr kumimoji="0" lang="es-CL" sz="1400" b="1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6839425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80B89D-2EBE-A8AD-1DF5-83BBA4B93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63217392-1774-B0AE-F4D8-9157FDA73036}"/>
              </a:ext>
            </a:extLst>
          </p:cNvPr>
          <p:cNvSpPr/>
          <p:nvPr/>
        </p:nvSpPr>
        <p:spPr>
          <a:xfrm>
            <a:off x="659219" y="382772"/>
            <a:ext cx="8016948" cy="2585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aso 2: Ingresar Email del usuario y seleccionar “Recuperar contraseña”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2CF5FD1-200D-9BF6-2F7D-0340FE09C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219" y="948807"/>
            <a:ext cx="10738884" cy="4196984"/>
          </a:xfrm>
          <a:prstGeom prst="rect">
            <a:avLst/>
          </a:prstGeom>
        </p:spPr>
      </p:pic>
      <p:sp>
        <p:nvSpPr>
          <p:cNvPr id="6" name="Flecha derecha 1">
            <a:extLst>
              <a:ext uri="{FF2B5EF4-FFF2-40B4-BE49-F238E27FC236}">
                <a16:creationId xmlns:a16="http://schemas.microsoft.com/office/drawing/2014/main" id="{416E13A0-45BD-BF41-C40E-DBA2F2EAC2DF}"/>
              </a:ext>
            </a:extLst>
          </p:cNvPr>
          <p:cNvSpPr/>
          <p:nvPr/>
        </p:nvSpPr>
        <p:spPr>
          <a:xfrm>
            <a:off x="6028661" y="3549850"/>
            <a:ext cx="664143" cy="220312"/>
          </a:xfrm>
          <a:prstGeom prst="rightArrow">
            <a:avLst/>
          </a:prstGeom>
          <a:noFill/>
          <a:ln w="285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AA73EA9-A28A-C11A-BB2B-958DC738D787}"/>
              </a:ext>
            </a:extLst>
          </p:cNvPr>
          <p:cNvSpPr/>
          <p:nvPr/>
        </p:nvSpPr>
        <p:spPr>
          <a:xfrm>
            <a:off x="7393171" y="3429000"/>
            <a:ext cx="2169042" cy="462012"/>
          </a:xfrm>
          <a:prstGeom prst="rect">
            <a:avLst/>
          </a:prstGeom>
          <a:noFill/>
          <a:ln w="28575" cap="flat">
            <a:solidFill>
              <a:srgbClr val="FF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9829181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21510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FA49B-098A-53B0-C8C9-96B41FB44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CC17BEC-92F9-F00D-9178-D1277B0F830C}"/>
              </a:ext>
            </a:extLst>
          </p:cNvPr>
          <p:cNvSpPr txBox="1"/>
          <p:nvPr/>
        </p:nvSpPr>
        <p:spPr>
          <a:xfrm>
            <a:off x="4486940" y="5102951"/>
            <a:ext cx="7271307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177800" lvl="1" defTabSz="916777">
              <a:spcBef>
                <a:spcPts val="0"/>
              </a:spcBef>
              <a:spcAft>
                <a:spcPts val="200"/>
              </a:spcAft>
              <a:defRPr/>
            </a:pPr>
            <a:r>
              <a:rPr lang="es-ES" sz="2000">
                <a:solidFill>
                  <a:srgbClr val="FFFFFF"/>
                </a:solidFill>
                <a:ea typeface="+mn-lt"/>
                <a:cs typeface="Arial" panose="020B0604020202020204"/>
              </a:rPr>
              <a:t>PRINCIPALES FUNCIONALIDADES DE PORTAL DIPLOMAS</a:t>
            </a:r>
          </a:p>
        </p:txBody>
      </p:sp>
    </p:spTree>
    <p:extLst>
      <p:ext uri="{BB962C8B-B14F-4D97-AF65-F5344CB8AC3E}">
        <p14:creationId xmlns:p14="http://schemas.microsoft.com/office/powerpoint/2010/main" val="255032103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6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2C38FDA4-757A-7C42-0630-B33DBCF0F377}"/>
              </a:ext>
            </a:extLst>
          </p:cNvPr>
          <p:cNvGrpSpPr/>
          <p:nvPr/>
        </p:nvGrpSpPr>
        <p:grpSpPr>
          <a:xfrm>
            <a:off x="3493386" y="1585911"/>
            <a:ext cx="2520328" cy="4343439"/>
            <a:chOff x="3425719" y="2782704"/>
            <a:chExt cx="2520328" cy="3672000"/>
          </a:xfrm>
        </p:grpSpPr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0F36F28D-9F91-9A49-B810-E66B805D36C3}"/>
                </a:ext>
              </a:extLst>
            </p:cNvPr>
            <p:cNvSpPr/>
            <p:nvPr/>
          </p:nvSpPr>
          <p:spPr>
            <a:xfrm>
              <a:off x="3425719" y="2782704"/>
              <a:ext cx="2520328" cy="3672000"/>
            </a:xfrm>
            <a:prstGeom prst="rect">
              <a:avLst/>
            </a:prstGeom>
            <a:solidFill>
              <a:schemeClr val="tx2">
                <a:alpha val="88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8" name="Google Shape;665;p30">
              <a:extLst>
                <a:ext uri="{FF2B5EF4-FFF2-40B4-BE49-F238E27FC236}">
                  <a16:creationId xmlns:a16="http://schemas.microsoft.com/office/drawing/2014/main" id="{E62C4299-6F7D-9847-B632-EABA129D80B1}"/>
                </a:ext>
              </a:extLst>
            </p:cNvPr>
            <p:cNvSpPr txBox="1"/>
            <p:nvPr/>
          </p:nvSpPr>
          <p:spPr>
            <a:xfrm>
              <a:off x="3425719" y="3863602"/>
              <a:ext cx="2520328" cy="5956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9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rial" panose="020B0604020202020204"/>
                  <a:ea typeface="Arial"/>
                  <a:cs typeface="Arial"/>
                  <a:sym typeface="Arial"/>
                </a:rPr>
                <a:t>Creación de usuarios participantes</a:t>
              </a:r>
            </a:p>
          </p:txBody>
        </p:sp>
        <p:sp>
          <p:nvSpPr>
            <p:cNvPr id="50" name="CuadroTexto 92">
              <a:extLst>
                <a:ext uri="{FF2B5EF4-FFF2-40B4-BE49-F238E27FC236}">
                  <a16:creationId xmlns:a16="http://schemas.microsoft.com/office/drawing/2014/main" id="{B8C6F8CB-CC5A-7247-AF55-362ED7ABC970}"/>
                </a:ext>
              </a:extLst>
            </p:cNvPr>
            <p:cNvSpPr txBox="1"/>
            <p:nvPr/>
          </p:nvSpPr>
          <p:spPr>
            <a:xfrm>
              <a:off x="3513333" y="4738035"/>
              <a:ext cx="2345779" cy="86732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Arial" charset="0"/>
                  <a:cs typeface="Arial" charset="0"/>
                  <a:sym typeface="Helvetica Neue"/>
                </a:rPr>
                <a:t>Podrás Crear tu usuario como perfil persona, por lo que tendrás acceso a visualizar y a descargar los certificados de tus cursos.</a:t>
              </a:r>
            </a:p>
          </p:txBody>
        </p:sp>
        <p:pic>
          <p:nvPicPr>
            <p:cNvPr id="51" name="Imagen 50">
              <a:extLst>
                <a:ext uri="{FF2B5EF4-FFF2-40B4-BE49-F238E27FC236}">
                  <a16:creationId xmlns:a16="http://schemas.microsoft.com/office/drawing/2014/main" id="{FA69E714-760E-EA42-A1BF-6C3C4F3A1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462508" y="3248099"/>
              <a:ext cx="494434" cy="563828"/>
            </a:xfrm>
            <a:prstGeom prst="rect">
              <a:avLst/>
            </a:prstGeom>
          </p:spPr>
        </p:pic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AE75597E-FCD6-B428-63C8-7C43028FB374}"/>
              </a:ext>
            </a:extLst>
          </p:cNvPr>
          <p:cNvGrpSpPr/>
          <p:nvPr/>
        </p:nvGrpSpPr>
        <p:grpSpPr>
          <a:xfrm>
            <a:off x="8886661" y="1585909"/>
            <a:ext cx="2520328" cy="4343439"/>
            <a:chOff x="6109637" y="2789792"/>
            <a:chExt cx="2520328" cy="3672000"/>
          </a:xfrm>
        </p:grpSpPr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7B94DDF1-4ABF-7A42-A2AB-DFCD7D149C2B}"/>
                </a:ext>
              </a:extLst>
            </p:cNvPr>
            <p:cNvSpPr/>
            <p:nvPr/>
          </p:nvSpPr>
          <p:spPr>
            <a:xfrm>
              <a:off x="6109637" y="2789792"/>
              <a:ext cx="2520328" cy="3672000"/>
            </a:xfrm>
            <a:prstGeom prst="rect">
              <a:avLst/>
            </a:prstGeom>
            <a:solidFill>
              <a:schemeClr val="tx2">
                <a:alpha val="88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3" name="Google Shape;665;p30">
              <a:extLst>
                <a:ext uri="{FF2B5EF4-FFF2-40B4-BE49-F238E27FC236}">
                  <a16:creationId xmlns:a16="http://schemas.microsoft.com/office/drawing/2014/main" id="{D773BF6A-F91F-BD46-A09A-822A8E5B3B32}"/>
                </a:ext>
              </a:extLst>
            </p:cNvPr>
            <p:cNvSpPr txBox="1"/>
            <p:nvPr/>
          </p:nvSpPr>
          <p:spPr>
            <a:xfrm>
              <a:off x="6196227" y="3856084"/>
              <a:ext cx="2373062" cy="6942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9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rial" panose="020B0604020202020204"/>
                  <a:ea typeface="Arial"/>
                  <a:cs typeface="Arial"/>
                  <a:sym typeface="Arial"/>
                </a:rPr>
                <a:t>Descarga informes académicos</a:t>
              </a:r>
            </a:p>
          </p:txBody>
        </p:sp>
        <p:sp>
          <p:nvSpPr>
            <p:cNvPr id="55" name="CuadroTexto 99">
              <a:extLst>
                <a:ext uri="{FF2B5EF4-FFF2-40B4-BE49-F238E27FC236}">
                  <a16:creationId xmlns:a16="http://schemas.microsoft.com/office/drawing/2014/main" id="{D4503BC1-F2D8-C945-9FF7-CC86C02E0528}"/>
                </a:ext>
              </a:extLst>
            </p:cNvPr>
            <p:cNvSpPr txBox="1"/>
            <p:nvPr/>
          </p:nvSpPr>
          <p:spPr>
            <a:xfrm>
              <a:off x="6183270" y="4721585"/>
              <a:ext cx="2373062" cy="11795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Arial" charset="0"/>
                  <a:cs typeface="Arial" charset="0"/>
                  <a:sym typeface="Helvetica Neue"/>
                </a:rPr>
                <a:t>En esta sección se encuentra disponible la descarga masiva de diplomas e informes académicos de las capacitaciones realizadas de tu empresa. </a:t>
              </a:r>
            </a:p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endParaRPr>
            </a:p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endParaRPr>
            </a:p>
          </p:txBody>
        </p:sp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0E0F30D1-6341-1447-A97D-4A9369B97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035842" y="3230656"/>
              <a:ext cx="667919" cy="562960"/>
            </a:xfrm>
            <a:prstGeom prst="rect">
              <a:avLst/>
            </a:prstGeom>
          </p:spPr>
        </p:pic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0105824D-6AAE-7787-FA7C-6D8DD0D28628}"/>
              </a:ext>
            </a:extLst>
          </p:cNvPr>
          <p:cNvGrpSpPr/>
          <p:nvPr/>
        </p:nvGrpSpPr>
        <p:grpSpPr>
          <a:xfrm>
            <a:off x="6172281" y="1585909"/>
            <a:ext cx="2520328" cy="4343439"/>
            <a:chOff x="8819468" y="2782704"/>
            <a:chExt cx="2520328" cy="3672000"/>
          </a:xfrm>
        </p:grpSpPr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7A8E0191-7DEE-3648-B18D-89B250F68458}"/>
                </a:ext>
              </a:extLst>
            </p:cNvPr>
            <p:cNvSpPr/>
            <p:nvPr/>
          </p:nvSpPr>
          <p:spPr>
            <a:xfrm>
              <a:off x="8819468" y="2782704"/>
              <a:ext cx="2520328" cy="3672000"/>
            </a:xfrm>
            <a:prstGeom prst="rect">
              <a:avLst/>
            </a:prstGeom>
            <a:solidFill>
              <a:schemeClr val="tx2">
                <a:alpha val="88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8" name="Google Shape;665;p30">
              <a:extLst>
                <a:ext uri="{FF2B5EF4-FFF2-40B4-BE49-F238E27FC236}">
                  <a16:creationId xmlns:a16="http://schemas.microsoft.com/office/drawing/2014/main" id="{2812091D-21B9-A54F-A476-BFFC52DAE423}"/>
                </a:ext>
              </a:extLst>
            </p:cNvPr>
            <p:cNvSpPr txBox="1"/>
            <p:nvPr/>
          </p:nvSpPr>
          <p:spPr>
            <a:xfrm>
              <a:off x="8893101" y="3899803"/>
              <a:ext cx="2373062" cy="4935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9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rial" panose="020B0604020202020204"/>
                  <a:ea typeface="Arial"/>
                  <a:cs typeface="Arial"/>
                  <a:sym typeface="Arial"/>
                </a:rPr>
                <a:t>Descarga diplomas en Portal   </a:t>
              </a:r>
            </a:p>
          </p:txBody>
        </p:sp>
        <p:sp>
          <p:nvSpPr>
            <p:cNvPr id="60" name="CuadroTexto 107">
              <a:extLst>
                <a:ext uri="{FF2B5EF4-FFF2-40B4-BE49-F238E27FC236}">
                  <a16:creationId xmlns:a16="http://schemas.microsoft.com/office/drawing/2014/main" id="{939F351A-6538-2247-88AE-D2875048B1D6}"/>
                </a:ext>
              </a:extLst>
            </p:cNvPr>
            <p:cNvSpPr txBox="1"/>
            <p:nvPr/>
          </p:nvSpPr>
          <p:spPr>
            <a:xfrm>
              <a:off x="9013520" y="5021713"/>
              <a:ext cx="2154572" cy="2428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200" b="1" i="0" u="none" strike="noStrike" kern="0" cap="none" spc="0" normalizeH="0" baseline="0" noProof="0">
                <a:ln>
                  <a:noFill/>
                </a:ln>
                <a:solidFill>
                  <a:srgbClr val="014B14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endParaRPr>
            </a:p>
          </p:txBody>
        </p:sp>
        <p:pic>
          <p:nvPicPr>
            <p:cNvPr id="61" name="Imagen 60">
              <a:extLst>
                <a:ext uri="{FF2B5EF4-FFF2-40B4-BE49-F238E27FC236}">
                  <a16:creationId xmlns:a16="http://schemas.microsoft.com/office/drawing/2014/main" id="{F81E1916-243B-A24E-B1B6-39140B258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747305" y="3282939"/>
              <a:ext cx="687003" cy="458002"/>
            </a:xfrm>
            <a:prstGeom prst="rect">
              <a:avLst/>
            </a:prstGeom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6DB5ABCD-A8AF-6295-43A6-986F17740F46}"/>
              </a:ext>
            </a:extLst>
          </p:cNvPr>
          <p:cNvGrpSpPr/>
          <p:nvPr/>
        </p:nvGrpSpPr>
        <p:grpSpPr>
          <a:xfrm>
            <a:off x="782223" y="1600950"/>
            <a:ext cx="2520328" cy="4343439"/>
            <a:chOff x="714556" y="2797743"/>
            <a:chExt cx="2520328" cy="3672000"/>
          </a:xfrm>
        </p:grpSpPr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47D808AC-B667-1C4E-B021-59FF1CF29736}"/>
                </a:ext>
              </a:extLst>
            </p:cNvPr>
            <p:cNvSpPr/>
            <p:nvPr/>
          </p:nvSpPr>
          <p:spPr>
            <a:xfrm>
              <a:off x="714556" y="2797743"/>
              <a:ext cx="2520328" cy="3672000"/>
            </a:xfrm>
            <a:prstGeom prst="rect">
              <a:avLst/>
            </a:prstGeom>
            <a:solidFill>
              <a:schemeClr val="tx2">
                <a:alpha val="88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4" name="Google Shape;665;p30">
              <a:extLst>
                <a:ext uri="{FF2B5EF4-FFF2-40B4-BE49-F238E27FC236}">
                  <a16:creationId xmlns:a16="http://schemas.microsoft.com/office/drawing/2014/main" id="{8128EC4B-C854-F74D-BF58-BFC779D005DC}"/>
                </a:ext>
              </a:extLst>
            </p:cNvPr>
            <p:cNvSpPr txBox="1"/>
            <p:nvPr/>
          </p:nvSpPr>
          <p:spPr>
            <a:xfrm>
              <a:off x="788189" y="3858017"/>
              <a:ext cx="2373062" cy="6942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9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rial" panose="020B0604020202020204"/>
                  <a:ea typeface="Arial"/>
                  <a:cs typeface="Arial"/>
                  <a:sym typeface="Arial"/>
                </a:rPr>
                <a:t>Creación de usuarios Empresa</a:t>
              </a:r>
            </a:p>
          </p:txBody>
        </p:sp>
        <p:sp>
          <p:nvSpPr>
            <p:cNvPr id="46" name="CuadroTexto 41">
              <a:extLst>
                <a:ext uri="{FF2B5EF4-FFF2-40B4-BE49-F238E27FC236}">
                  <a16:creationId xmlns:a16="http://schemas.microsoft.com/office/drawing/2014/main" id="{EBA25342-2346-9047-B72F-461ED49EB396}"/>
                </a:ext>
              </a:extLst>
            </p:cNvPr>
            <p:cNvSpPr txBox="1"/>
            <p:nvPr/>
          </p:nvSpPr>
          <p:spPr>
            <a:xfrm>
              <a:off x="798741" y="4755166"/>
              <a:ext cx="2362510" cy="10234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0800" tIns="50800" rIns="50800" bIns="50800" numCol="1" spcCol="38100" rtlCol="0" anchor="ctr">
              <a:spAutoFit/>
            </a:bodyPr>
            <a:lstStyle>
              <a:defPPr>
                <a:defRPr lang="es-C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7313" marR="0" lvl="0" indent="-87313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Arial" charset="0"/>
                  <a:cs typeface="Arial" charset="0"/>
                  <a:sym typeface="Helvetica Neue"/>
                </a:rPr>
                <a:t>  Podrás Crear tu usuario como Encargado Empresa, por lo que tendrás acceso a visualizar y descargar todos los diplomas de tu empresa.</a:t>
              </a:r>
            </a:p>
            <a:p>
              <a:pPr marL="0" marR="0" lvl="0" indent="0" algn="l" defTabSz="12191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endParaRPr>
            </a:p>
          </p:txBody>
        </p:sp>
      </p:grpSp>
      <p:sp>
        <p:nvSpPr>
          <p:cNvPr id="65" name="Título 10">
            <a:extLst>
              <a:ext uri="{FF2B5EF4-FFF2-40B4-BE49-F238E27FC236}">
                <a16:creationId xmlns:a16="http://schemas.microsoft.com/office/drawing/2014/main" id="{1A202082-D39A-632A-A8E2-3A74D7D11BD6}"/>
              </a:ext>
            </a:extLst>
          </p:cNvPr>
          <p:cNvSpPr txBox="1">
            <a:spLocks/>
          </p:cNvSpPr>
          <p:nvPr/>
        </p:nvSpPr>
        <p:spPr bwMode="gray">
          <a:xfrm>
            <a:off x="741331" y="928649"/>
            <a:ext cx="85665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9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56" algn="l"/>
              </a:tabLst>
              <a:defRPr sz="2041" b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2pPr>
            <a:lvl3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3pPr>
            <a:lvl4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4pPr>
            <a:lvl5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5pPr>
            <a:lvl6pPr marL="622005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6pPr>
            <a:lvl7pPr marL="1244012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7pPr>
            <a:lvl8pPr marL="1866017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8pPr>
            <a:lvl9pPr marL="2488024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5600" marR="0" lvl="0" indent="-342900" algn="l" defTabSz="1218095" rtl="0" eaLnBrk="1" fontAlgn="base" latinLnBrk="0" hangingPunct="1">
              <a:lnSpc>
                <a:spcPct val="100000"/>
              </a:lnSpc>
              <a:spcBef>
                <a:spcPts val="12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>
                <a:tab pos="367156" algn="l"/>
              </a:tabLst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Principales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Funcionalidades Portal Diplomas</a:t>
            </a: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FA69E714-760E-EA42-A1BF-6C3C4F3A1C7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08793" y="2157112"/>
            <a:ext cx="494434" cy="666926"/>
          </a:xfrm>
          <a:prstGeom prst="rect">
            <a:avLst/>
          </a:prstGeom>
        </p:spPr>
      </p:pic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F6CEE312-CF90-3613-BCD3-30C0A9FA54CC}"/>
              </a:ext>
            </a:extLst>
          </p:cNvPr>
          <p:cNvSpPr txBox="1">
            <a:spLocks/>
          </p:cNvSpPr>
          <p:nvPr/>
        </p:nvSpPr>
        <p:spPr>
          <a:xfrm>
            <a:off x="620120" y="5147207"/>
            <a:ext cx="7792024" cy="64327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04800" marR="0" lvl="0" indent="-30480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E9EAD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ortal de Diplomas: https://achs.certificados.crm-mantis.cl/login</a:t>
            </a: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6" name="CuadroTexto 99">
            <a:extLst>
              <a:ext uri="{FF2B5EF4-FFF2-40B4-BE49-F238E27FC236}">
                <a16:creationId xmlns:a16="http://schemas.microsoft.com/office/drawing/2014/main" id="{D4503BC1-F2D8-C945-9FF7-CC86C02E0528}"/>
              </a:ext>
            </a:extLst>
          </p:cNvPr>
          <p:cNvSpPr txBox="1"/>
          <p:nvPr/>
        </p:nvSpPr>
        <p:spPr>
          <a:xfrm>
            <a:off x="6356364" y="3840598"/>
            <a:ext cx="2373062" cy="17645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50800" tIns="50800" rIns="50800" bIns="50800" numCol="1" spcCol="38100" rtlCol="0" anchor="ctr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rPr>
              <a:t>En esta sección se encuentra disponible la descarga de tus diplomas ejecutados en Achs.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2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Arial" charset="0"/>
              <a:cs typeface="Arial" charset="0"/>
              <a:sym typeface="Helvetica Neue"/>
            </a:endParaRP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  <a:sym typeface="Helvetica Neue"/>
              </a:rPr>
              <a:t>Podrás realizar la búsqueda por Menú Cursos o Menú Participantes. 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2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Arial" charset="0"/>
              <a:cs typeface="Arial" charset="0"/>
              <a:sym typeface="Helvetica Neue"/>
            </a:endParaRP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2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Arial" charset="0"/>
              <a:cs typeface="Arial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2893622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727987" y="891587"/>
            <a:ext cx="6712449" cy="2585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aso 1: Ingresa al Portal de Diplomas y haz clic en “Regístrate Aquí”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571843-4D15-6F4E-6936-9F4B9EC1894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76280" y="391165"/>
            <a:ext cx="9003081" cy="313932"/>
          </a:xfrm>
          <a:prstGeom prst="rect">
            <a:avLst/>
          </a:prstGeom>
        </p:spPr>
        <p:txBody>
          <a:bodyPr lIns="0" tIns="0" rIns="0" bIns="0" anchor="t"/>
          <a:lstStyle/>
          <a:p>
            <a:pPr>
              <a:buFont typeface="Wingdings" panose="05000000000000000000" pitchFamily="2" charset="2"/>
              <a:buChar char="ü"/>
            </a:pPr>
            <a:r>
              <a:rPr lang="es-CL" sz="1400" b="1">
                <a:solidFill>
                  <a:schemeClr val="tx2"/>
                </a:solidFill>
                <a:ea typeface="+mn-lt"/>
                <a:cs typeface="Arial" panose="020B0604020202020204"/>
              </a:rPr>
              <a:t>Creación de usuarios empresas</a:t>
            </a:r>
          </a:p>
          <a:p>
            <a:endParaRPr lang="es-E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CEE312-CF90-3613-BCD3-30C0A9FA54C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0120" y="5147207"/>
            <a:ext cx="7792024" cy="643270"/>
          </a:xfrm>
          <a:prstGeom prst="rect">
            <a:avLst/>
          </a:prstGeom>
        </p:spPr>
        <p:txBody>
          <a:bodyPr/>
          <a:lstStyle/>
          <a:p>
            <a:r>
              <a:rPr lang="es-ES" sz="1200">
                <a:solidFill>
                  <a:schemeClr val="tx2"/>
                </a:solidFill>
              </a:rPr>
              <a:t>Portal de Diplomas: https://achs.certificados.crm-mantis.cl</a:t>
            </a:r>
            <a:endParaRPr lang="x-none" sz="1200">
              <a:solidFill>
                <a:schemeClr val="tx2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887" y="1676560"/>
            <a:ext cx="8413209" cy="3078747"/>
          </a:xfrm>
          <a:prstGeom prst="rect">
            <a:avLst/>
          </a:prstGeom>
        </p:spPr>
      </p:pic>
      <p:sp>
        <p:nvSpPr>
          <p:cNvPr id="2" name="Flecha derecha 1"/>
          <p:cNvSpPr/>
          <p:nvPr/>
        </p:nvSpPr>
        <p:spPr>
          <a:xfrm>
            <a:off x="6150542" y="3860800"/>
            <a:ext cx="664143" cy="220312"/>
          </a:xfrm>
          <a:prstGeom prst="rightArrow">
            <a:avLst/>
          </a:prstGeom>
          <a:noFill/>
          <a:ln w="285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757962" y="3792354"/>
            <a:ext cx="866274" cy="462012"/>
          </a:xfrm>
          <a:prstGeom prst="rect">
            <a:avLst/>
          </a:prstGeom>
          <a:noFill/>
          <a:ln w="28575" cap="flat">
            <a:solidFill>
              <a:srgbClr val="FF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559891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544259" y="368658"/>
            <a:ext cx="10828962" cy="4247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aso 2: Debes completar todos los campos y luego hacer clic en “Solicitar cuenta”, recuerda que si eres encargado empresa debes agregar Rut de tu empresa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702175" y="5244002"/>
            <a:ext cx="10349501" cy="4247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Nota: El perfil Empresa está dirigido a administradores y permite visualizar sus propios diplomas y los de sus trabajadores, por lo que requiere validación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3645" y="1097279"/>
            <a:ext cx="8056315" cy="3898233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3732" y="4040030"/>
            <a:ext cx="707197" cy="29873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3919" y="3881395"/>
            <a:ext cx="1123175" cy="5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48283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727987" y="891587"/>
            <a:ext cx="6712449" cy="2585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aso 1: Ingresa al Portal de Diplomas y haz clic en “Regístrate Aquí”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571843-4D15-6F4E-6936-9F4B9EC1894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37240" y="391165"/>
            <a:ext cx="9003081" cy="313932"/>
          </a:xfrm>
          <a:prstGeom prst="rect">
            <a:avLst/>
          </a:prstGeom>
        </p:spPr>
        <p:txBody>
          <a:bodyPr lIns="0" tIns="0" rIns="0" bIns="0" anchor="t"/>
          <a:lstStyle/>
          <a:p>
            <a:pPr>
              <a:buFont typeface="Wingdings" panose="05000000000000000000" pitchFamily="2" charset="2"/>
              <a:buChar char="ü"/>
            </a:pPr>
            <a:r>
              <a:rPr lang="es-CL" sz="1400" b="1">
                <a:solidFill>
                  <a:schemeClr val="tx2"/>
                </a:solidFill>
                <a:ea typeface="+mn-lt"/>
              </a:rPr>
              <a:t>Creación usuarios participantes</a:t>
            </a:r>
          </a:p>
          <a:p>
            <a:endParaRPr lang="es-E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6CEE312-CF90-3613-BCD3-30C0A9FA54C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0120" y="5147207"/>
            <a:ext cx="7792024" cy="643270"/>
          </a:xfrm>
          <a:prstGeom prst="rect">
            <a:avLst/>
          </a:prstGeom>
        </p:spPr>
        <p:txBody>
          <a:bodyPr/>
          <a:lstStyle/>
          <a:p>
            <a:r>
              <a:rPr lang="es-ES" sz="1200">
                <a:solidFill>
                  <a:schemeClr val="tx2"/>
                </a:solidFill>
              </a:rPr>
              <a:t>Portal de Diplomas: https://achs.certificados.crm-mantis.cl</a:t>
            </a:r>
            <a:endParaRPr lang="x-none" sz="1200">
              <a:solidFill>
                <a:schemeClr val="tx2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6671" y="1625469"/>
            <a:ext cx="8412480" cy="3075317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6662" y="3814325"/>
            <a:ext cx="707197" cy="29873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6587" y="3716780"/>
            <a:ext cx="896190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65602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6CEE312-CF90-3613-BCD3-30C0A9FA54C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71994" y="5320462"/>
            <a:ext cx="10679290" cy="643270"/>
          </a:xfrm>
          <a:prstGeom prst="rect">
            <a:avLst/>
          </a:prstGeom>
        </p:spPr>
        <p:txBody>
          <a:bodyPr/>
          <a:lstStyle/>
          <a:p>
            <a:r>
              <a:rPr lang="es-ES" sz="1200">
                <a:solidFill>
                  <a:schemeClr val="bg1">
                    <a:lumMod val="76000"/>
                  </a:schemeClr>
                </a:solidFill>
              </a:rPr>
              <a:t>Nota: El perfil participante está dirigido a usuarios y permite visualizar sus propios diplomas, por lo que requiere validación.</a:t>
            </a:r>
            <a:endParaRPr lang="x-none" sz="1200">
              <a:solidFill>
                <a:schemeClr val="tx2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3287" y="1313636"/>
            <a:ext cx="8434856" cy="3653052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422322" y="578134"/>
            <a:ext cx="10828962" cy="4247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76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aso 2: Debes completar todos los campos y luego hacer clic en “Solicitar cuenta”, recuerda que puedes solicitar la creación de tu usuario si has ejecutado cursos en Achs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76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1508" y="3556360"/>
            <a:ext cx="707197" cy="29873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2282" y="3449671"/>
            <a:ext cx="1279567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61892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A93CF-F7BD-753A-B8C8-1F868E11D9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2FF51D0-C6FD-63C1-BE61-2718E97F96FD}"/>
              </a:ext>
            </a:extLst>
          </p:cNvPr>
          <p:cNvSpPr txBox="1"/>
          <p:nvPr/>
        </p:nvSpPr>
        <p:spPr>
          <a:xfrm>
            <a:off x="5487056" y="5188011"/>
            <a:ext cx="6356252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lvl="0" defTabSz="1218406" hangingPunct="1">
              <a:spcBef>
                <a:spcPts val="0"/>
              </a:spcBef>
              <a:buSzPct val="123000"/>
              <a:defRPr/>
            </a:pPr>
            <a:r>
              <a:rPr lang="es-ES" sz="2000">
                <a:solidFill>
                  <a:schemeClr val="bg1"/>
                </a:solidFill>
              </a:rPr>
              <a:t>DESCARGAR DIPLOMAS EN PORTAL </a:t>
            </a:r>
          </a:p>
          <a:p>
            <a:pPr defTabSz="1218406" hangingPunct="1">
              <a:spcBef>
                <a:spcPts val="0"/>
              </a:spcBef>
              <a:buSzPct val="123000"/>
              <a:defRPr/>
            </a:pPr>
            <a:r>
              <a:rPr lang="es-CL" sz="1400">
                <a:solidFill>
                  <a:schemeClr val="bg1"/>
                </a:solidFill>
                <a:cs typeface="Arial"/>
              </a:rPr>
              <a:t>https://achs.certificados.crm-mantis.cl </a:t>
            </a:r>
            <a:endParaRPr lang="es-ES" sz="1400">
              <a:solidFill>
                <a:schemeClr val="bg1"/>
              </a:solidFill>
              <a:cs typeface="Arial"/>
            </a:endParaRPr>
          </a:p>
          <a:p>
            <a:pPr lvl="0" defTabSz="1218406" hangingPunct="1">
              <a:spcBef>
                <a:spcPts val="0"/>
              </a:spcBef>
              <a:buSzPct val="123000"/>
              <a:defRPr/>
            </a:pPr>
            <a:r>
              <a:rPr lang="es-ES" sz="2000">
                <a:solidFill>
                  <a:schemeClr val="bg1"/>
                </a:solidFill>
              </a:rPr>
              <a:t> </a:t>
            </a:r>
            <a:endParaRPr kumimoji="0" lang="en-US" sz="20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091754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2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3.xml><?xml version="1.0" encoding="utf-8"?>
<a:theme xmlns:a="http://schemas.openxmlformats.org/drawingml/2006/main" name="23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4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</TotalTime>
  <Words>1016</Words>
  <Application>Microsoft Office PowerPoint</Application>
  <PresentationFormat>Panorámica</PresentationFormat>
  <Paragraphs>129</Paragraphs>
  <Slides>2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37" baseType="lpstr">
      <vt:lpstr>.Lucida Grande UI Regular</vt:lpstr>
      <vt:lpstr>ACHS Nueva Sans Medium</vt:lpstr>
      <vt:lpstr>ACHS Nueva Serif</vt:lpstr>
      <vt:lpstr>Arial</vt:lpstr>
      <vt:lpstr>Calibri</vt:lpstr>
      <vt:lpstr>Helvetica Neue Medium</vt:lpstr>
      <vt:lpstr>Wingdings</vt:lpstr>
      <vt:lpstr>21_BasicWhite</vt:lpstr>
      <vt:lpstr>22_BasicWhite</vt:lpstr>
      <vt:lpstr>23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Vivallo Speer, Catalina</cp:lastModifiedBy>
  <cp:revision>7</cp:revision>
  <dcterms:created xsi:type="dcterms:W3CDTF">2020-05-27T23:52:59Z</dcterms:created>
  <dcterms:modified xsi:type="dcterms:W3CDTF">2025-12-02T20:36:52Z</dcterms:modified>
  <cp:category/>
</cp:coreProperties>
</file>